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41778238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7" d="100"/>
          <a:sy n="27" d="100"/>
        </p:scale>
        <p:origin x="103" y="191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9BE2E07-C250-B2C3-7D4B-31736E8C53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A8C22-8189-C2CF-1BF2-7E489AF5C7F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FDBEB4-E744-4CA3-8DCF-9E776AB8647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3366DC-4CC2-AD8E-B5B2-5BF10A165C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6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5B891F-5AFB-590A-749B-329ED24755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2F52A-B99E-45F7-9521-60316E544D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63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D8C699-87CB-47B4-B821-4248E4AAF6CC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970588" y="1143000"/>
            <a:ext cx="18799176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6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08B3B2-D7DC-4B62-B25C-1F33BF05186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8319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8B3B2-D7DC-4B62-B25C-1F33BF05186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5661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068" y="75600"/>
            <a:ext cx="40523883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2066" y="6605844"/>
            <a:ext cx="12747297" cy="126000"/>
          </a:xfrm>
        </p:spPr>
        <p:txBody>
          <a:bodyPr/>
          <a:lstStyle/>
          <a:p>
            <a:fld id="{9D92D601-D1AF-4EB3-A16D-5F202ED726E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570333" y="6605844"/>
            <a:ext cx="11843962" cy="126000"/>
          </a:xfrm>
        </p:spPr>
        <p:txBody>
          <a:bodyPr/>
          <a:lstStyle/>
          <a:p>
            <a:r>
              <a:rPr lang="de-DE"/>
              <a:t>PowerPoint-1067×6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8610" y="6590168"/>
            <a:ext cx="1197339" cy="151200"/>
          </a:xfrm>
        </p:spPr>
        <p:txBody>
          <a:bodyPr/>
          <a:lstStyle/>
          <a:p>
            <a:fld id="{DF54656B-BCAB-4E0D-846C-162E1FD8D68E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82066" y="914400"/>
            <a:ext cx="34113412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117736807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A382F-EB37-FE3F-6D55-BF5C6D5A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2632BB-BC18-4CA3-FF91-F9C00D9FE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2D601-D1AF-4EB3-A16D-5F202ED726E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D07420-7547-641D-0376-EDB15272C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6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940173-11B9-9037-AB78-2B605EC7C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54656B-BCAB-4E0D-846C-162E1FD8D6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95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682066" y="6605844"/>
            <a:ext cx="12747297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9D92D601-D1AF-4EB3-A16D-5F202ED726E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27570333" y="6605844"/>
            <a:ext cx="11843962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6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82068" y="75600"/>
            <a:ext cx="40523883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682066" y="914400"/>
            <a:ext cx="34113412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0008610" y="6590168"/>
            <a:ext cx="1197339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F54656B-BCAB-4E0D-846C-162E1FD8D68E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281978" y="6165304"/>
            <a:ext cx="20605558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3327355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A01FF-F1FD-936F-86ED-7E429607E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7589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8:00Z</dcterms:created>
  <dcterms:modified xsi:type="dcterms:W3CDTF">2025-09-01T07:46:17Z</dcterms:modified>
</cp:coreProperties>
</file>